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6"/>
  </p:notesMasterIdLst>
  <p:sldIdLst>
    <p:sldId id="265" r:id="rId2"/>
    <p:sldId id="264" r:id="rId3"/>
    <p:sldId id="266" r:id="rId4"/>
    <p:sldId id="272" r:id="rId5"/>
    <p:sldId id="271" r:id="rId6"/>
    <p:sldId id="267" r:id="rId7"/>
    <p:sldId id="277" r:id="rId8"/>
    <p:sldId id="268" r:id="rId9"/>
    <p:sldId id="269" r:id="rId10"/>
    <p:sldId id="273" r:id="rId11"/>
    <p:sldId id="274" r:id="rId12"/>
    <p:sldId id="275" r:id="rId13"/>
    <p:sldId id="276" r:id="rId14"/>
    <p:sldId id="278" r:id="rId1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91" d="100"/>
          <a:sy n="91" d="100"/>
        </p:scale>
        <p:origin x="318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2.10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12509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011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8" y="2362896"/>
            <a:ext cx="10849611" cy="1231106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Submission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76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2-PK :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Easy Finance App User I want to view my submitted application status in App so that I can take next step based on BMW Evaluation. </a:t>
            </a:r>
            <a:r>
              <a:rPr lang="en-US" dirty="0">
                <a:solidFill>
                  <a:srgbClr val="FF0000"/>
                </a:solidFill>
              </a:rPr>
              <a:t>Dependency with Story EP011-S001-PK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 has pre-installed the Easy Finance App in his/her mobile devices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has Active Internet Connection &amp;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T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lecom Connection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Accepted T&amp;C to receive SMS &amp; App push notification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User Must have submitted Loan application using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</a:rPr>
              <a:t> Must have an open application that is submitted and waiting Feedback from BMW and (or) from BMW Dealer. 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User is able to view his/her application status in real-time with push notification &amp; SMS Notifications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. to Mockup for more details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49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2-PK 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847165" y="1738587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36671" y="2161307"/>
            <a:ext cx="2217042" cy="294105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y Open Applica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868973" y="173106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058479" y="2153782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058479" y="2875234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58479" y="3596686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058479" y="4311872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37333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o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392130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935037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t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03855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072069" y="5774412"/>
            <a:ext cx="385302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…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033915" y="2780818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3424324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F0"/>
                </a:solidFill>
                <a:latin typeface="BMW Group Condensed" panose="020B0606020202020204" pitchFamily="34" charset="0"/>
              </a:rPr>
              <a:t>Submitted</a:t>
            </a:r>
            <a:endParaRPr lang="en-US" sz="1000" dirty="0">
              <a:solidFill>
                <a:srgbClr val="00B0F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58479" y="5573861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68972" y="1731061"/>
            <a:ext cx="2596055" cy="29873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etail </a:t>
            </a:r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ge </a:t>
            </a:r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View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031709" y="3563445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5345345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50"/>
                </a:solidFill>
                <a:latin typeface="BMW Group Condensed" panose="020B0606020202020204" pitchFamily="34" charset="0"/>
              </a:rPr>
              <a:t>Approved</a:t>
            </a:r>
            <a:endParaRPr lang="en-US" sz="800" dirty="0">
              <a:solidFill>
                <a:srgbClr val="00B05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022520" y="4391633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0957867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Denied</a:t>
            </a:r>
            <a:endParaRPr lang="en-US" sz="800" dirty="0">
              <a:solidFill>
                <a:srgbClr val="C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30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11-S003-PK 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asy Finance App User I want to submit my returned loan application from App so that my vehicle loan application can be reevaluated by BMW. </a:t>
            </a:r>
            <a:r>
              <a:rPr lang="en-US" dirty="0">
                <a:solidFill>
                  <a:srgbClr val="FF0000"/>
                </a:solidFill>
              </a:rPr>
              <a:t>Dependency with Story </a:t>
            </a:r>
            <a:r>
              <a:rPr lang="en-US" dirty="0" smtClean="0">
                <a:solidFill>
                  <a:srgbClr val="FF0000"/>
                </a:solidFill>
              </a:rPr>
              <a:t>EP011-S001-PK &amp; EP011-S002-PK</a:t>
            </a:r>
          </a:p>
          <a:p>
            <a:pPr marL="0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Users Initial Independent Application request has been returned to application due to insufficient Credit Score.</a:t>
            </a:r>
          </a:p>
          <a:p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User Must have submitted Loan application using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</a:rPr>
              <a:t> Must have an open resubmitted application that is submitted and waiting Feedback from BMW and (or) from BMW Dealer. </a:t>
            </a:r>
          </a:p>
          <a:p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user is allowed to resubmit the Returned applicant with co-borrower’s information and proof documents for review.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er to </a:t>
            </a:r>
            <a:r>
              <a:rPr lang="en-US" dirty="0">
                <a:solidFill>
                  <a:srgbClr val="172B4D"/>
                </a:solidFill>
                <a:latin typeface="+mj-lt"/>
              </a:rPr>
              <a:t>Story EP011-S001-PK &amp;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EP011-S002-PK for Co-Borrower and Guarantor process. 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b="1" dirty="0" smtClean="0">
                <a:solidFill>
                  <a:srgbClr val="FF0000"/>
                </a:solidFill>
              </a:rPr>
              <a:t>F&amp;I </a:t>
            </a:r>
            <a:r>
              <a:rPr lang="en-US" b="1" dirty="0">
                <a:solidFill>
                  <a:srgbClr val="FF0000"/>
                </a:solidFill>
              </a:rPr>
              <a:t>should review the application before passing through the request </a:t>
            </a:r>
            <a:r>
              <a:rPr lang="en-US" altLang="zh-CN" b="1" dirty="0">
                <a:solidFill>
                  <a:srgbClr val="FF0000"/>
                </a:solidFill>
              </a:rPr>
              <a:t>to GCAP</a:t>
            </a:r>
            <a:r>
              <a:rPr lang="en-US" b="1" dirty="0">
                <a:solidFill>
                  <a:srgbClr val="FF0000"/>
                </a:solidFill>
              </a:rPr>
              <a:t>. 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er to Mockup for more details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65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3-PK 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7255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22135" y="1710947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gratulations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!!!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BMW</a:t>
            </a: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Easy Finance Application  has been Submitted Successfully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e Back Check your Application Status!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ll Us if you had any Queries</a:t>
            </a: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94589" y="4839387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86761" y="564843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ceed to Submi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6761" y="2143432"/>
            <a:ext cx="2217042" cy="210410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Handling Page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his is where all the uploaded Documents are previewed &amp; Approved.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309695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99201" y="5084484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Application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499201" y="213590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499201" y="2857359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499201" y="3578811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99201" y="429399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499201" y="5490779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Cancel </a:t>
            </a:r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&amp; Set Status to Draf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494589" y="524966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942882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132388" y="2143432"/>
            <a:ext cx="2217042" cy="294105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y Open Applicatio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8933050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o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9487847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030754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t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0599572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167786" y="5756537"/>
            <a:ext cx="385302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…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129632" y="2762943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3424324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F0"/>
                </a:solidFill>
                <a:latin typeface="BMW Group Condensed" panose="020B0606020202020204" pitchFamily="34" charset="0"/>
              </a:rPr>
              <a:t>Submitted</a:t>
            </a:r>
            <a:endParaRPr lang="en-US" sz="1000" dirty="0">
              <a:solidFill>
                <a:srgbClr val="00B0F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127426" y="3545570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5345345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50"/>
                </a:solidFill>
                <a:latin typeface="BMW Group Condensed" panose="020B0606020202020204" pitchFamily="34" charset="0"/>
              </a:rPr>
              <a:t>Approved</a:t>
            </a:r>
            <a:endParaRPr lang="en-US" sz="800" dirty="0">
              <a:solidFill>
                <a:srgbClr val="00B05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118237" y="4373758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0957867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Denied</a:t>
            </a:r>
            <a:endParaRPr lang="en-US" sz="800" dirty="0">
              <a:solidFill>
                <a:srgbClr val="C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26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3-PK 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630621" y="1048658"/>
            <a:ext cx="10773103" cy="53077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ealer Front End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5931" y="1608083"/>
            <a:ext cx="10026869" cy="3026979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 Data: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35117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Profil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Data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0334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&amp;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Binding Offer Data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145552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uthentic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/ 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uthoriz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&amp; Review Data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++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ttachments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45931" y="4942239"/>
            <a:ext cx="2354317" cy="50449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 </a:t>
            </a: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662855" y="4942239"/>
            <a:ext cx="2354317" cy="50449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052406" y="5758748"/>
            <a:ext cx="1881352" cy="420414"/>
          </a:xfrm>
          <a:prstGeom prst="rect">
            <a:avLst/>
          </a:prstGeom>
          <a:solidFill>
            <a:srgbClr val="FECB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tur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for Updat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091448" y="5758748"/>
            <a:ext cx="1881352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Reques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13364" y="5755759"/>
            <a:ext cx="1881352" cy="420414"/>
          </a:xfrm>
          <a:prstGeom prst="rect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rov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864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011: Application Submi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</a:t>
            </a:r>
            <a:r>
              <a:rPr lang="en-US" altLang="zh-CN" dirty="0" smtClean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1</a:t>
            </a:r>
            <a:r>
              <a:rPr lang="en-US" altLang="zh-CN" dirty="0" smtClean="0">
                <a:solidFill>
                  <a:srgbClr val="0070C0"/>
                </a:solidFill>
              </a:rPr>
              <a:t>-PK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Easy Finance App User I want to submit my </a:t>
            </a:r>
            <a:r>
              <a:rPr lang="en-US" dirty="0" smtClean="0"/>
              <a:t>loan application from App </a:t>
            </a:r>
            <a:r>
              <a:rPr lang="en-US" dirty="0"/>
              <a:t>so that my </a:t>
            </a:r>
            <a:r>
              <a:rPr lang="en-US" dirty="0" smtClean="0"/>
              <a:t>vehicle </a:t>
            </a:r>
            <a:r>
              <a:rPr lang="en-US" dirty="0"/>
              <a:t>loan Application be can be evaluated by </a:t>
            </a:r>
            <a:r>
              <a:rPr lang="en-US" dirty="0" smtClean="0"/>
              <a:t>BMW  </a:t>
            </a:r>
            <a:r>
              <a:rPr lang="en-US" altLang="zh-CN" dirty="0" smtClean="0"/>
              <a:t>- </a:t>
            </a:r>
            <a:r>
              <a:rPr lang="en-US" altLang="zh-CN" dirty="0" smtClean="0">
                <a:solidFill>
                  <a:srgbClr val="C00000"/>
                </a:solidFill>
              </a:rPr>
              <a:t>Dependency with Epic 10 (Document Handling).</a:t>
            </a:r>
            <a:endParaRPr lang="en-US" dirty="0" smtClean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</a:t>
            </a:r>
            <a:r>
              <a:rPr lang="en-US" altLang="zh-CN" dirty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2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asy Finance App User I want to </a:t>
            </a:r>
            <a:r>
              <a:rPr lang="en-US" dirty="0" smtClean="0"/>
              <a:t>view my submitted application status in App so that I can take next step based on BMW Evaluation. </a:t>
            </a:r>
            <a:r>
              <a:rPr lang="en-US" dirty="0" smtClean="0">
                <a:solidFill>
                  <a:srgbClr val="C00000"/>
                </a:solidFill>
              </a:rPr>
              <a:t>Dependency with </a:t>
            </a:r>
            <a:r>
              <a:rPr lang="en-US" dirty="0">
                <a:solidFill>
                  <a:srgbClr val="C00000"/>
                </a:solidFill>
              </a:rPr>
              <a:t>Story </a:t>
            </a:r>
            <a:r>
              <a:rPr lang="en-US" dirty="0" smtClean="0">
                <a:solidFill>
                  <a:srgbClr val="C00000"/>
                </a:solidFill>
              </a:rPr>
              <a:t>EP011-S001-PK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</a:t>
            </a:r>
            <a:r>
              <a:rPr lang="en-US" altLang="zh-CN" dirty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3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Easy Finance App User I want to submit my returned loan application from App so that my vehicle loan application can be reevaluated by BMW</a:t>
            </a:r>
            <a:r>
              <a:rPr lang="en-US" dirty="0"/>
              <a:t>. </a:t>
            </a:r>
            <a:r>
              <a:rPr lang="en-US" dirty="0">
                <a:solidFill>
                  <a:srgbClr val="C00000"/>
                </a:solidFill>
              </a:rPr>
              <a:t>Dependency with Story </a:t>
            </a:r>
            <a:r>
              <a:rPr lang="en-US" dirty="0" smtClean="0">
                <a:solidFill>
                  <a:srgbClr val="C00000"/>
                </a:solidFill>
              </a:rPr>
              <a:t>EP011-S001-PK; </a:t>
            </a:r>
            <a:r>
              <a:rPr lang="en-US" dirty="0">
                <a:solidFill>
                  <a:srgbClr val="C00000"/>
                </a:solidFill>
              </a:rPr>
              <a:t>Dependency with Story </a:t>
            </a:r>
            <a:r>
              <a:rPr lang="en-US" dirty="0" smtClean="0">
                <a:solidFill>
                  <a:srgbClr val="C00000"/>
                </a:solidFill>
              </a:rPr>
              <a:t>EP011-S002-PK</a:t>
            </a:r>
            <a:endParaRPr lang="en-US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1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1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875574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asy Finance App User I want to submit my loan application from App so that my vehicle loan Application be can be evaluated by BMW  - Dependency with Epic 10 (Document Handling</a:t>
            </a:r>
            <a:r>
              <a:rPr lang="en-US" dirty="0" smtClean="0"/>
              <a:t>).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ssumptions: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User has passed/completed all the steps before document handling </a:t>
            </a:r>
            <a:r>
              <a:rPr lang="en-US" altLang="zh-CN" sz="1600" dirty="0">
                <a:solidFill>
                  <a:srgbClr val="172B4D"/>
                </a:solidFill>
                <a:latin typeface="+mj-lt"/>
              </a:rPr>
              <a:t>and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 uploaded all necessary documents as needed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Using Easy Finance App to submit the application for BMW Evaluation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Easy Finance App user has filled in all mandatory information and completed all necessary steps before application Submission.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user is enabled to receive SMS / Push notification upon Application Submission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ixed Application Status is Synchronized across various systems involved i.e., DFE, Easy Finance APP Administration portal etc.,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Easy Finance App user is faced with options to Submit Application and proceed to next phase with a Submit, Back &amp; Cancel buttons. </a:t>
            </a:r>
            <a:r>
              <a:rPr lang="en-US" b="1" dirty="0" smtClean="0">
                <a:solidFill>
                  <a:srgbClr val="FF0000"/>
                </a:solidFill>
                <a:latin typeface="+mj-lt"/>
              </a:rPr>
              <a:t>F&amp;I </a:t>
            </a:r>
            <a:r>
              <a:rPr lang="en-US" b="1" dirty="0" smtClean="0">
                <a:solidFill>
                  <a:srgbClr val="FF0000"/>
                </a:solidFill>
                <a:latin typeface="+mj-lt"/>
              </a:rPr>
              <a:t>should review the application before passing through the request </a:t>
            </a:r>
            <a:r>
              <a:rPr lang="en-US" altLang="zh-CN" b="1" dirty="0" smtClean="0">
                <a:solidFill>
                  <a:srgbClr val="FF0000"/>
                </a:solidFill>
                <a:latin typeface="+mj-lt"/>
              </a:rPr>
              <a:t>to GCAP</a:t>
            </a:r>
            <a:r>
              <a:rPr lang="en-US" b="1" dirty="0" smtClean="0">
                <a:solidFill>
                  <a:srgbClr val="FF0000"/>
                </a:solidFill>
                <a:latin typeface="+mj-lt"/>
              </a:rPr>
              <a:t>. </a:t>
            </a:r>
            <a:endParaRPr lang="en-US" b="1" dirty="0" smtClean="0">
              <a:solidFill>
                <a:srgbClr val="FF0000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Application Status is set to “</a:t>
            </a:r>
            <a:r>
              <a:rPr lang="en-US" u="sng" dirty="0" smtClean="0">
                <a:solidFill>
                  <a:srgbClr val="172B4D"/>
                </a:solidFill>
                <a:latin typeface="+mj-lt"/>
              </a:rPr>
              <a:t>Application Submitted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” and prompted to Potential Customer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BMW’s Internal SF Application GCAP will receive Application submitted by Potential customer from Easy Finance App. </a:t>
            </a:r>
          </a:p>
          <a:p>
            <a:pPr marL="526687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GCAP Automatically reviews the application with pre-set BMW’s Business Policy Rule Matrix to Score the application.</a:t>
            </a:r>
          </a:p>
          <a:p>
            <a:pPr marL="526687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Based in GCAP’s Scoring Application Status is set to one of the 3 status and </a:t>
            </a:r>
          </a:p>
          <a:p>
            <a:pPr marL="363787" lvl="2" indent="0">
              <a:buNone/>
            </a:pPr>
            <a:r>
              <a:rPr lang="en-US" dirty="0">
                <a:solidFill>
                  <a:srgbClr val="172B4D"/>
                </a:solidFill>
                <a:latin typeface="+mj-lt"/>
              </a:rPr>
              <a:t>	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Auto Approved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(or) 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Auto Declined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(or) 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Send Back: Add Co-borrower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04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（</a:t>
            </a:r>
            <a:r>
              <a:rPr lang="en-US" altLang="zh-CN" dirty="0" smtClean="0"/>
              <a:t>Cont.</a:t>
            </a:r>
            <a:r>
              <a:rPr lang="zh-CN" altLang="en-US" dirty="0" smtClean="0"/>
              <a:t>）</a:t>
            </a:r>
            <a:r>
              <a:rPr lang="en-US" dirty="0" smtClean="0"/>
              <a:t>Story </a:t>
            </a:r>
            <a:r>
              <a:rPr lang="en-US" dirty="0"/>
              <a:t>ID: ES-S001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698091"/>
            <a:ext cx="11224685" cy="5860026"/>
          </a:xfrm>
        </p:spPr>
        <p:txBody>
          <a:bodyPr/>
          <a:lstStyle/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cceptance </a:t>
            </a:r>
            <a:r>
              <a:rPr lang="en-US" sz="1600" u="sng" dirty="0" smtClean="0">
                <a:solidFill>
                  <a:srgbClr val="00B0F0"/>
                </a:solidFill>
              </a:rPr>
              <a:t>Criteria</a:t>
            </a:r>
          </a:p>
          <a:p>
            <a:pPr marL="0" lvl="0" indent="0">
              <a:buNone/>
            </a:pPr>
            <a:r>
              <a:rPr lang="en-US" sz="1500" dirty="0" smtClean="0">
                <a:solidFill>
                  <a:srgbClr val="172B4D"/>
                </a:solidFill>
              </a:rPr>
              <a:t>Potential </a:t>
            </a:r>
            <a:r>
              <a:rPr lang="en-US" sz="1500" dirty="0">
                <a:solidFill>
                  <a:srgbClr val="172B4D"/>
                </a:solidFill>
              </a:rPr>
              <a:t>Customer is notified with SMS &amp; Push Notification from Easy Finance App about his/her Application Status. Same Status is maintained and DEF and </a:t>
            </a:r>
            <a:r>
              <a:rPr lang="en-US" sz="1500" dirty="0" err="1">
                <a:solidFill>
                  <a:srgbClr val="172B4D"/>
                </a:solidFill>
              </a:rPr>
              <a:t>Cofis</a:t>
            </a:r>
            <a:r>
              <a:rPr lang="en-US" sz="1500" dirty="0">
                <a:solidFill>
                  <a:srgbClr val="172B4D"/>
                </a:solidFill>
              </a:rPr>
              <a:t> for future references. </a:t>
            </a:r>
            <a:endParaRPr lang="en-US" sz="1500" dirty="0" smtClean="0">
              <a:solidFill>
                <a:srgbClr val="172B4D"/>
              </a:solidFill>
            </a:endParaRPr>
          </a:p>
          <a:p>
            <a:pPr marL="0" lvl="0" indent="0">
              <a:buNone/>
            </a:pPr>
            <a:endParaRPr lang="en-US" sz="1600" u="sng" dirty="0">
              <a:solidFill>
                <a:srgbClr val="00B0F0"/>
              </a:solidFill>
            </a:endParaRPr>
          </a:p>
          <a:p>
            <a:pPr marL="0" lv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 smtClean="0">
                <a:solidFill>
                  <a:srgbClr val="C00000"/>
                </a:solidFill>
              </a:rPr>
              <a:t>Auto Approved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Customer Continues to Proceed with Vehicle Purchasing Process at the dealership. 	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Potential Customer is provided with Hotline Number from Application Status Page and in Notification SMS to reach out to BMW Customer support if any support needed from Customer Interaction Center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>
                <a:solidFill>
                  <a:srgbClr val="C00000"/>
                </a:solidFill>
              </a:rPr>
              <a:t>Auto </a:t>
            </a:r>
            <a:r>
              <a:rPr lang="en-US" dirty="0" smtClean="0">
                <a:solidFill>
                  <a:srgbClr val="C00000"/>
                </a:solidFill>
              </a:rPr>
              <a:t>Denied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Easy Finance App user is allowed to Start a new Application process but not allowed to Edit the Denied Applications. </a:t>
            </a:r>
          </a:p>
          <a:p>
            <a:pPr marL="0" indent="0">
              <a:buNone/>
            </a:pPr>
            <a:r>
              <a:rPr lang="en-US" sz="1200" dirty="0" smtClean="0">
                <a:solidFill>
                  <a:srgbClr val="C00000"/>
                </a:solidFill>
              </a:rPr>
              <a:t>Important Note: </a:t>
            </a:r>
            <a:r>
              <a:rPr lang="en-US" sz="1200" dirty="0" smtClean="0"/>
              <a:t>History records to be maintained for future reference -  Thus not allowing Customer to edit the denied applications. If time and resource permits a functionality such as Creating  a new Application from old application can be build and made available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 smtClean="0">
                <a:solidFill>
                  <a:srgbClr val="C00000"/>
                </a:solidFill>
              </a:rPr>
              <a:t>Send it back: Add Co-borrower: (Story Dependency: EPIC 9).</a:t>
            </a:r>
            <a:endParaRPr lang="en-US" dirty="0">
              <a:solidFill>
                <a:srgbClr val="C00000"/>
              </a:solidFill>
            </a:endParaRPr>
          </a:p>
          <a:p>
            <a:r>
              <a:rPr lang="en-US" dirty="0" smtClean="0">
                <a:solidFill>
                  <a:srgbClr val="172B4D"/>
                </a:solidFill>
              </a:rPr>
              <a:t>Potential Customer can invite a co-borrower to join the application process. 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</a:t>
            </a:r>
            <a:r>
              <a:rPr lang="en-US" dirty="0" smtClean="0">
                <a:solidFill>
                  <a:srgbClr val="172B4D"/>
                </a:solidFill>
              </a:rPr>
              <a:t>= </a:t>
            </a:r>
            <a:r>
              <a:rPr lang="en-US" dirty="0" smtClean="0">
                <a:solidFill>
                  <a:srgbClr val="C00000"/>
                </a:solidFill>
              </a:rPr>
              <a:t>MUW (Manual Under Writing).</a:t>
            </a:r>
          </a:p>
          <a:p>
            <a:pPr>
              <a:buFontTx/>
              <a:buChar char="-"/>
            </a:pPr>
            <a:r>
              <a:rPr lang="en-US" dirty="0" smtClean="0"/>
              <a:t>Current CA process is followed and notified to user with CA’s Feedback as Necessary.  A note/remark section is added in DEF to collected CA Process Feedback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23479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23479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94127" y="171589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1" name="Oval 10"/>
          <p:cNvSpPr/>
          <p:nvPr/>
        </p:nvSpPr>
        <p:spPr>
          <a:xfrm>
            <a:off x="10268610" y="171589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794127" y="219698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3" name="Oval 12"/>
          <p:cNvSpPr/>
          <p:nvPr/>
        </p:nvSpPr>
        <p:spPr>
          <a:xfrm>
            <a:off x="10268610" y="219698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866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Maintained in various Application St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172B4D"/>
                </a:solidFill>
              </a:rPr>
              <a:t>Easy Finance App follows following Stages as application review process; </a:t>
            </a:r>
          </a:p>
          <a:p>
            <a:pPr marL="526687" lvl="1" indent="-342900">
              <a:buAutoNum type="arabicPeriod"/>
            </a:pPr>
            <a:r>
              <a:rPr lang="en-US" dirty="0">
                <a:solidFill>
                  <a:srgbClr val="172B4D"/>
                </a:solidFill>
              </a:rPr>
              <a:t>Quotation </a:t>
            </a:r>
            <a:r>
              <a:rPr lang="en-US" dirty="0" smtClean="0">
                <a:solidFill>
                  <a:srgbClr val="172B4D"/>
                </a:solidFill>
              </a:rPr>
              <a:t>Draft: 	When </a:t>
            </a:r>
            <a:r>
              <a:rPr lang="en-US" dirty="0">
                <a:solidFill>
                  <a:srgbClr val="172B4D"/>
                </a:solidFill>
              </a:rPr>
              <a:t>the App user is selecting products and generating quotation. </a:t>
            </a:r>
          </a:p>
          <a:p>
            <a:pPr marL="526687" lvl="1" indent="-342900">
              <a:buAutoNum type="arabicPeriod"/>
            </a:pPr>
            <a:r>
              <a:rPr lang="en-US" dirty="0">
                <a:solidFill>
                  <a:srgbClr val="172B4D"/>
                </a:solidFill>
              </a:rPr>
              <a:t>Quotation </a:t>
            </a:r>
            <a:r>
              <a:rPr lang="en-US" dirty="0" smtClean="0">
                <a:solidFill>
                  <a:srgbClr val="172B4D"/>
                </a:solidFill>
              </a:rPr>
              <a:t>Created: 	When </a:t>
            </a:r>
            <a:r>
              <a:rPr lang="en-US" dirty="0">
                <a:solidFill>
                  <a:srgbClr val="172B4D"/>
                </a:solidFill>
              </a:rPr>
              <a:t>Quotation is reviewed &amp; Approved by Dealer F&amp;I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E-Authentication:  	When </a:t>
            </a:r>
            <a:r>
              <a:rPr lang="en-US" dirty="0">
                <a:solidFill>
                  <a:srgbClr val="172B4D"/>
                </a:solidFill>
              </a:rPr>
              <a:t>App user is authenticating him/her – self from Easy Finance App’s E-Authentication </a:t>
            </a:r>
            <a:r>
              <a:rPr lang="en-US" dirty="0" smtClean="0">
                <a:solidFill>
                  <a:srgbClr val="172B4D"/>
                </a:solidFill>
              </a:rPr>
              <a:t>service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Processing: 	When the App user is under going pre-check process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Pass:	This status is set when App user Passes Pre-Check Process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Fail	:	This status is set when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fails Pre-Check Process. </a:t>
            </a:r>
            <a:endParaRPr lang="en-US" dirty="0"/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Draft:	While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is filling in the Application and not proceeded to doc. handling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Document Upload: 	While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is uploading Necessary docs for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Submitted: 	While Application is Submitted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uto Approved: 	When GCAP Auto Approved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uto Denied:		When GCAP Auto Rejected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Returned: 		When GCAP Returned Application due to insufficient Credit Scoring – Co-Borrower needed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Processing: 	Application Accepted for Loan Processing. </a:t>
            </a:r>
            <a:endParaRPr lang="en-US" dirty="0">
              <a:solidFill>
                <a:srgbClr val="172B4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5582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70881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914498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gratulations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!!!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BMW</a:t>
            </a: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Easy Finance Application  has been Submitted Successfully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e Back Check your Application Status!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ll Us if you had any Queries</a:t>
            </a: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21404" y="4831861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60387" y="564843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ceed to Submi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60387" y="2143432"/>
            <a:ext cx="2217042" cy="210410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Handling Page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his is where all the uploaded Documents are previewed &amp; Approved.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92689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082195" y="5084484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Application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082195" y="213590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082195" y="2857359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082195" y="3578811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082195" y="429399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082195" y="5490779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Cancel </a:t>
            </a:r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&amp; Set Status to Draf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21404" y="5242139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14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: Mockups: Application reviewed in GCAP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630621" y="1048658"/>
            <a:ext cx="10773103" cy="53077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ealer Front End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5931" y="1608083"/>
            <a:ext cx="10026869" cy="3026979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 Data: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35117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Profil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Data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40334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&amp;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Binding Offer Data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145552" y="2144110"/>
            <a:ext cx="2627586" cy="223870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uthentic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/ 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uthoriz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&amp; Review Dat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.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++Attachments</a:t>
            </a: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45931" y="4942239"/>
            <a:ext cx="2354317" cy="50449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 </a:t>
            </a:r>
            <a:r>
              <a:rPr lang="en-US" dirty="0">
                <a:solidFill>
                  <a:schemeClr val="bg1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662855" y="4942239"/>
            <a:ext cx="2354317" cy="50449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052406" y="5758748"/>
            <a:ext cx="1881352" cy="420414"/>
          </a:xfrm>
          <a:prstGeom prst="rect">
            <a:avLst/>
          </a:prstGeom>
          <a:solidFill>
            <a:srgbClr val="FECB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tur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for Updat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091448" y="5758748"/>
            <a:ext cx="1881352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Reques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13364" y="5755759"/>
            <a:ext cx="1881352" cy="420414"/>
          </a:xfrm>
          <a:prstGeom prst="rect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rov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072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3370993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</a:t>
            </a:r>
            <a:r>
              <a:rPr lang="en-US" dirty="0" smtClean="0"/>
              <a:t>Flow:</a:t>
            </a:r>
            <a:endParaRPr lang="en-US" dirty="0"/>
          </a:p>
        </p:txBody>
      </p:sp>
      <p:sp>
        <p:nvSpPr>
          <p:cNvPr id="24" name="Rounded Rectangle 23"/>
          <p:cNvSpPr/>
          <p:nvPr/>
        </p:nvSpPr>
        <p:spPr>
          <a:xfrm>
            <a:off x="5234639" y="1707055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F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3305195" y="1707056"/>
            <a:ext cx="978946" cy="441434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 A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ustomer Finishes Document upload.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ll Mandatory docs are uploaded after DFE review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Customer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Clicks Submit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340023" y="1707056"/>
            <a:ext cx="1114097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ubmission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522485" y="267524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6065319" y="2761089"/>
            <a:ext cx="1052335" cy="1351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4386246" y="5132538"/>
            <a:ext cx="2702513" cy="85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255693" y="2283942"/>
            <a:ext cx="997389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plication Data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ed to 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EF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61246" y="4884727"/>
            <a:ext cx="137249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Responds to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APP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24961" y="3163634"/>
            <a:ext cx="793807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ata Synce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To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DFE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918681" y="5188551"/>
            <a:ext cx="1444626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A process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Status Share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7118864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CAP</a:t>
            </a:r>
          </a:p>
        </p:txBody>
      </p:sp>
      <p:cxnSp>
        <p:nvCxnSpPr>
          <p:cNvPr id="51" name="Straight Arrow Connector 50"/>
          <p:cNvCxnSpPr/>
          <p:nvPr/>
        </p:nvCxnSpPr>
        <p:spPr>
          <a:xfrm flipH="1" flipV="1">
            <a:off x="2493988" y="5130949"/>
            <a:ext cx="745010" cy="31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9840448" y="361811"/>
            <a:ext cx="1873185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IT ARCH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Elbow Connector 4"/>
          <p:cNvCxnSpPr/>
          <p:nvPr/>
        </p:nvCxnSpPr>
        <p:spPr>
          <a:xfrm rot="10800000" flipV="1">
            <a:off x="7920649" y="2668395"/>
            <a:ext cx="885747" cy="273220"/>
          </a:xfrm>
          <a:prstGeom prst="bentConnector3">
            <a:avLst>
              <a:gd name="adj1" fmla="val -62115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7912878" y="2668395"/>
            <a:ext cx="11328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7903403" y="3590467"/>
            <a:ext cx="2993167" cy="95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3" name="Rounded Rectangle 62"/>
          <p:cNvSpPr/>
          <p:nvPr/>
        </p:nvSpPr>
        <p:spPr>
          <a:xfrm>
            <a:off x="10929094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D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E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965969" y="2283942"/>
            <a:ext cx="135005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CAP Runs the Scoring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Policy Rule 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trix.</a:t>
            </a:r>
          </a:p>
        </p:txBody>
      </p:sp>
      <p:cxnSp>
        <p:nvCxnSpPr>
          <p:cNvPr id="66" name="Straight Arrow Connector 65"/>
          <p:cNvCxnSpPr/>
          <p:nvPr/>
        </p:nvCxnSpPr>
        <p:spPr>
          <a:xfrm>
            <a:off x="7933508" y="5425227"/>
            <a:ext cx="2993167" cy="95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2363109" y="4726886"/>
            <a:ext cx="1101584" cy="70788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ceives SM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ush Notification</a:t>
            </a:r>
            <a:endParaRPr lang="en-US" sz="10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4294638" y="2757517"/>
            <a:ext cx="922755" cy="30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132595" y="2283942"/>
            <a:ext cx="1040670" cy="70788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Reviews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Approve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plication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BMW Review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6019179" y="4726886"/>
            <a:ext cx="1069580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054132" y="4356559"/>
            <a:ext cx="1042273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view Data Sync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to DFE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80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237</Words>
  <Application>Microsoft Office PowerPoint</Application>
  <PresentationFormat>Widescreen</PresentationFormat>
  <Paragraphs>284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BMW Group</vt:lpstr>
      <vt:lpstr>BMW Group Condensed</vt:lpstr>
      <vt:lpstr>BMW Group Condensed Bold</vt:lpstr>
      <vt:lpstr>BMW Group Light</vt:lpstr>
      <vt:lpstr>BMW Type Global Pro Regular</vt:lpstr>
      <vt:lpstr>Symbol</vt:lpstr>
      <vt:lpstr>Wingdings</vt:lpstr>
      <vt:lpstr>BMW Group 16:9</vt:lpstr>
      <vt:lpstr>PowerPoint Presentation</vt:lpstr>
      <vt:lpstr>EP011: Application Submission</vt:lpstr>
      <vt:lpstr>Story ID: ES-S001: </vt:lpstr>
      <vt:lpstr>（Cont.）Story ID: ES-S001:</vt:lpstr>
      <vt:lpstr>Status Maintained in various Application Stages</vt:lpstr>
      <vt:lpstr>Story ID: EP011-S001-PK: </vt:lpstr>
      <vt:lpstr>Story ID: EP011-S001-PK: Mockups: Application reviewed in GCAP.</vt:lpstr>
      <vt:lpstr>Story ID: EP011-S001-PK:  </vt:lpstr>
      <vt:lpstr>Story ID: EP011-S001-PK:  </vt:lpstr>
      <vt:lpstr>Story ID: EP011-S002-PK :  </vt:lpstr>
      <vt:lpstr>Story ID: EP011-S002-PK : </vt:lpstr>
      <vt:lpstr>Story ID: EP011-S003-PK : </vt:lpstr>
      <vt:lpstr>Story ID: EP011-S003-PK : </vt:lpstr>
      <vt:lpstr>Story ID: EP011-S003-PK :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Krishnan Purushothaman, BBS-82</cp:lastModifiedBy>
  <cp:revision>206</cp:revision>
  <dcterms:created xsi:type="dcterms:W3CDTF">2017-04-27T07:24:45Z</dcterms:created>
  <dcterms:modified xsi:type="dcterms:W3CDTF">2018-10-22T05:21:18Z</dcterms:modified>
</cp:coreProperties>
</file>